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61" r:id="rId1"/>
  </p:sldMasterIdLst>
  <p:notesMasterIdLst>
    <p:notesMasterId r:id="rId3"/>
  </p:notesMasterIdLst>
  <p:handoutMasterIdLst>
    <p:handoutMasterId r:id="rId4"/>
  </p:handoutMasterIdLst>
  <p:sldIdLst>
    <p:sldId id="266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110" d="100"/>
          <a:sy n="110" d="100"/>
        </p:scale>
        <p:origin x="1680" y="114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1/20/2020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20/11/2020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5298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November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4CEF0553-4F46-41FB-9668-737F2258676C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4086723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251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7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19251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251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1"/>
              <a:t>Reduktion des Stromverbrauchs um mindestens 15%</a:t>
            </a:r>
            <a:endParaRPr lang="fr-FR" b="0" noProof="1"/>
          </a:p>
        </p:txBody>
      </p:sp>
      <p:sp>
        <p:nvSpPr>
          <p:cNvPr id="192516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8590" y="1407495"/>
            <a:ext cx="7997825" cy="307975"/>
          </a:xfrm>
        </p:spPr>
        <p:txBody>
          <a:bodyPr>
            <a:spAutoFit/>
          </a:bodyPr>
          <a:lstStyle/>
          <a:p>
            <a:r>
              <a:rPr lang="fr-FR" noProof="1"/>
              <a:t>Öko Lampen an Series 1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en-US" sz="800" kern="0" dirty="0" err="1">
                <a:solidFill>
                  <a:srgbClr val="000000"/>
                </a:solidFill>
              </a:rPr>
              <a:t>Nutzen</a:t>
            </a:r>
            <a:r>
              <a:rPr lang="en-US" sz="800" kern="0" dirty="0">
                <a:solidFill>
                  <a:srgbClr val="000000"/>
                </a:solidFill>
              </a:rPr>
              <a:t>: </a:t>
            </a:r>
            <a:r>
              <a:rPr lang="en-US" sz="800" kern="0" dirty="0" err="1">
                <a:solidFill>
                  <a:srgbClr val="000000"/>
                </a:solidFill>
              </a:rPr>
              <a:t>Kostenoptimierung</a:t>
            </a:r>
            <a:r>
              <a:rPr lang="en-US" sz="800" kern="0" dirty="0">
                <a:solidFill>
                  <a:srgbClr val="000000"/>
                </a:solidFill>
              </a:rPr>
              <a:t>, </a:t>
            </a:r>
            <a:r>
              <a:rPr lang="en-US" sz="800" kern="0" dirty="0" err="1">
                <a:solidFill>
                  <a:srgbClr val="000000"/>
                </a:solidFill>
              </a:rPr>
              <a:t>Nachhaltigkeit</a:t>
            </a:r>
            <a:endParaRPr lang="en-US" sz="800" kern="0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en-US" sz="800" kern="0" dirty="0" err="1">
                <a:solidFill>
                  <a:srgbClr val="000000"/>
                </a:solidFill>
              </a:rPr>
              <a:t>Ausstattung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Series 1 Blasmaschinen</a:t>
            </a:r>
            <a:r>
              <a:rPr lang="de-DE" sz="800" kern="0"/>
              <a:t> mit Ausnahme der Heat-Set Version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alog-Code: 903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0" cy="158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4499992" y="1743075"/>
          <a:ext cx="4122100" cy="3990181"/>
        </p:xfrm>
        <a:graphic>
          <a:graphicData uri="http://schemas.openxmlformats.org/drawingml/2006/table">
            <a:tbl>
              <a:tblPr/>
              <a:tblGrid>
                <a:gridCol w="244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4302"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ESCHREIBUNG</a:t>
                      </a:r>
                      <a:endParaRPr kumimoji="0" lang="de-DE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infacher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Tausch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er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2 kW IR-Lampen gegen die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eu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1,7 kW Proximity Reflector Lampen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 der SBO Series 1 können die ÖKO Lampen eingebaut werden,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abhängig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om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fenmaß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(15 mm, 19 mm,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ogressiv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)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hne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Änderung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am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f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1,7 kW ÖKO-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mp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halt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indestens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5.000 Betriebsstunden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47700" y="1732162"/>
          <a:ext cx="3854076" cy="4001094"/>
        </p:xfrm>
        <a:graphic>
          <a:graphicData uri="http://schemas.openxmlformats.org/drawingml/2006/table">
            <a:tbl>
              <a:tblPr/>
              <a:tblGrid>
                <a:gridCol w="38540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3163">
                <a:tc>
                  <a:txBody>
                    <a:bodyPr/>
                    <a:lstStyle>
                      <a:lvl1pPr marL="190500" indent="-1905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UTZEN UND VORTEILE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25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7931">
                <a:tc>
                  <a:txBody>
                    <a:bodyPr/>
                    <a:lstStyle>
                      <a:lvl1pPr marL="180975" indent="-180975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er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Heizstromverbrauch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kan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um   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mindestens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5%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gesenkt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erde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64B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mindestens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5%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an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nergieeinsparung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m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Ofen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Höheres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Strahlungsniveau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infach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inzubauen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essere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ereichseingrenzung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und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Halsschutz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Höhere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rozessstabilitä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as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Quarzrohr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st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mechanisch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geschütz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ie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rozessfähigkeit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leib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für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lle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Anlagen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gültig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Kombinieren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Sie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die ÖKO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Lampen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mit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em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oberen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Ofenreflektor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in den Series 1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oder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Series 2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lasmaschinen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und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rzielen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Sie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30% an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Leistungsersparni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64B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62278" marR="0" lvl="1" indent="-16227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4"/>
                        </a:buClr>
                        <a:buSzPct val="100000"/>
                        <a:buFont typeface="Wingdings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en-GB" altLang="de-DE" sz="1400" kern="1200" noProof="1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36008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293096"/>
            <a:ext cx="2935023" cy="919630"/>
          </a:xfrm>
          <a:prstGeom prst="rect">
            <a:avLst/>
          </a:prstGeom>
        </p:spPr>
      </p:pic>
      <p:sp>
        <p:nvSpPr>
          <p:cNvPr id="11" name="Rechteck 11">
            <a:extLst>
              <a:ext uri="{FF2B5EF4-FFF2-40B4-BE49-F238E27FC236}">
                <a16:creationId xmlns:a16="http://schemas.microsoft.com/office/drawing/2014/main" id="{1F35DF87-434E-4A2A-872D-CB66103EB45C}"/>
              </a:ext>
            </a:extLst>
          </p:cNvPr>
          <p:cNvSpPr/>
          <p:nvPr/>
        </p:nvSpPr>
        <p:spPr>
          <a:xfrm>
            <a:off x="4743759" y="1732162"/>
            <a:ext cx="3869372" cy="41978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SCHREIBUNG</a:t>
            </a:r>
            <a:endParaRPr kumimoji="0" lang="de-DE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2" name="Image 9">
            <a:extLst>
              <a:ext uri="{FF2B5EF4-FFF2-40B4-BE49-F238E27FC236}">
                <a16:creationId xmlns:a16="http://schemas.microsoft.com/office/drawing/2014/main" id="{91FA79F0-C180-4F74-9688-12CC66DF558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8919" y="3175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20078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146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Reduktion des Stromverbrauchs um mindestens 15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0-11-20T11:1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0-10T15:25:53.601243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8-03T14:26:25.556713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8-03T14:26:25.556713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